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86"/>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ack Count Bracket" id="{F7DA6A46-59EA-4507-8D43-3942363C4C86}">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704250229221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8237666396748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153005941195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9329976925708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00311054065661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237201775094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76175841103597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75948410456020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25035099324725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16373420501108E-3</c:v>
                </c:pt>
                <c:pt idx="3">
                  <c:v>0.99618334220442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4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608937318184280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3637372291164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4386095006882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09949723545441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0085335224978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787515360340129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57886139319489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284566228791441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5833481404317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3419879014462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897948502065427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41380359332220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34193561272996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5816056563943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8800474438985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251446252838476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8157370352040277E-3</c:v>
                </c:pt>
                <c:pt idx="3">
                  <c:v>0.395228593633762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516152761585157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48864439225384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88392314503888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4876835877361912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116345919987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23437725959825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13655338936491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6017419882202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7659917819501354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708593483806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043379926377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966800019878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2811389100190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49566186656728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29020419001266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636744006882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95045954273180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062289646181967E-3</c:v>
                </c:pt>
                <c:pt idx="3">
                  <c:v>0.993993771035381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6.0043904862287075E-3</c:v>
                </c:pt>
                <c:pt idx="3">
                  <c:v>0.5591150724961876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9674104548506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89134555193620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162911384713257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23733471685507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852888112070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39639999021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37736472916607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158784715439398E-2</c:v>
                </c:pt>
                <c:pt idx="3">
                  <c:v>0.9518412152845605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8158784715439398E-2</c:v>
                </c:pt>
                <c:pt idx="3">
                  <c:v>0.465983696032257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6624044980314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38198780367942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85413596235194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6357667995300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877609402073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2061879600355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354410380662222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08791751881273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70517928727338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9338065548991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13522538423966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9110156483801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79335413481996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790469514102255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625074786239765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14428017079657E-2</c:v>
                </c:pt>
                <c:pt idx="3">
                  <c:v>0.988785433070026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1214428017079657E-2</c:v>
                </c:pt>
                <c:pt idx="3">
                  <c:v>0.422804909114204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485887328088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01382036445365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43564329831957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628173270353013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1062270559764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192394525610480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71133301253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410207184680615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01496793281269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679970747671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9277336697474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8545899273584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724017404071293E-2</c:v>
                </c:pt>
                <c:pt idx="3">
                  <c:v>0.9112748835864383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8.8724017404071293E-2</c:v>
                </c:pt>
                <c:pt idx="3">
                  <c:v>0.334485657867277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24274682192949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61785202755672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563360232506447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407080700262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3258189381677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9826896895111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1981214297187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68672821689238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7038963125081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599286851439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705356062228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733239612330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3568535811043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6531448041233236E-3</c:v>
                </c:pt>
                <c:pt idx="3">
                  <c:v>0.996346582983699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904949718552068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6525356374131268E-3</c:v>
                </c:pt>
                <c:pt idx="3">
                  <c:v>0.38114709253605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32299415643811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296662336822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099534283295121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314668210511141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297266057175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3.9901864727342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2949736674014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6135921344296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57669844679666E-2</c:v>
                </c:pt>
                <c:pt idx="3">
                  <c:v>0.9714214884095281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6952369408094659E-2</c:v>
                </c:pt>
                <c:pt idx="3">
                  <c:v>0.973045920509188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941896014636484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6952369408094659E-2</c:v>
                </c:pt>
                <c:pt idx="3">
                  <c:v>0.297162870710102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298708584619583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361049601215225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298665077943723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16373420501108E-3</c:v>
                </c:pt>
                <c:pt idx="3">
                  <c:v>0.99618334220442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615273084190692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8157370352040277E-3</c:v>
                </c:pt>
                <c:pt idx="3">
                  <c:v>0.395228593633762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516152761585157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48864439225384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947540461903666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949262358029692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1062270559764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192394525610480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71133301253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478098275912948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57669844679666E-2</c:v>
                </c:pt>
                <c:pt idx="3">
                  <c:v>0.9714214884095281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73239082633107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857669844679666E-2</c:v>
                </c:pt>
                <c:pt idx="3">
                  <c:v>0.3104357021090360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67831065616311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68414210611983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100373504143516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441098646263186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857669844679666E-2</c:v>
                </c:pt>
                <c:pt idx="3">
                  <c:v>0.3104357021090360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67831065616311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68414210611983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129502722150305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823766639674804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704250229221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75666801790508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396337923290486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000311054065661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9329976925708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90422106675530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33298070833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175948410456020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76175841103597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07443682116558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8.17591417208167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4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3637372291164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89373181842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043860950068824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10803075795223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8751536034012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757886139319489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284566228791441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170032271548938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9794850206542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380359332220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341935612729960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346165310029283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6531448041233236E-3</c:v>
                </c:pt>
                <c:pt idx="3">
                  <c:v>0.996346582983699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9.325584622743983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116345919987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23437725959825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13655338936491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69185013629413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023564401954708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708593483806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043379926377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966800019878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104558255038978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347789063774303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49566186656728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29020419001266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636744006882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47256890498877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062289646181967E-3</c:v>
                </c:pt>
                <c:pt idx="3">
                  <c:v>0.993993771035381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704250229221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318977189908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8237666396748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153005941195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0476051752909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6.0043904862287075E-3</c:v>
                </c:pt>
                <c:pt idx="3">
                  <c:v>0.5591150724961876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9674104548506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89134555193620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05815086718416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614462086261064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23733471685507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852888112070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39639999021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57629026429050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158784715439398E-2</c:v>
                </c:pt>
                <c:pt idx="3">
                  <c:v>0.9518412152845605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375085520330023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8158784715439398E-2</c:v>
                </c:pt>
                <c:pt idx="3">
                  <c:v>0.465983696032257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6624044980314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38198780367942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716627410318943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6357667995300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877609402073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2061879600355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354410380662222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08791751881273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70517928727338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9338065548991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13522538423966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9110156483801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79335413481996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790469514102255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625074786239765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14428017079657E-2</c:v>
                </c:pt>
                <c:pt idx="3">
                  <c:v>0.988785433070026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1214428017079657E-2</c:v>
                </c:pt>
                <c:pt idx="3">
                  <c:v>0.422804909114204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485887328088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01382036445365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43564329831957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01496793281269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679970747671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9277336697474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8545899273584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724017404071293E-2</c:v>
                </c:pt>
                <c:pt idx="3">
                  <c:v>0.9112748835864383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8.8724017404071293E-2</c:v>
                </c:pt>
                <c:pt idx="3">
                  <c:v>0.334485657867277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24274682192949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61785202755672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563360232506447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407080700262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3258189381677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9826896895111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9329976925708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00311054065661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237201775094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1981214297187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68672821689238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7038963125081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599286851439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705356062228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733239612330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3568535811043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76175841103597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37258079183278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75948410456020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25035099324725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4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155150524877055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6525356374131268E-3</c:v>
                </c:pt>
                <c:pt idx="3">
                  <c:v>0.38114709253605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32299415643811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296662336822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074514202662623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043860950068824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3637372291164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89373181842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09949723545441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0085335224978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284566228791441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8751536034012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757886139319489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5833481404317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3419879014462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341935612729960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9794850206542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380359332220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5816056563943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8800474438985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7.200548776721844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116345919987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23437725959825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13655338936491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29737988136593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034609551599965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708593483806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043379926377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966800019878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024661701833690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6.764785442465831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49566186656728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29020419001266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636744006882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27398099848522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062289646181967E-3</c:v>
                </c:pt>
                <c:pt idx="3">
                  <c:v>0.9939937710353817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6.0043904862287075E-3</c:v>
                </c:pt>
                <c:pt idx="3">
                  <c:v>0.5591150724961876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9674104548506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89134555193620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162911384713257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23733471685507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852888112070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39639999021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37736472916607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158784715439398E-2</c:v>
                </c:pt>
                <c:pt idx="3">
                  <c:v>0.9518412152845605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8158784715439398E-2</c:v>
                </c:pt>
                <c:pt idx="3">
                  <c:v>0.465983696032257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6624044980314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38198780367942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85413596235194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6357667995300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877609402073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2061879600355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354410380662222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50141091619643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297266057175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3.9901864727342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2949736674014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594917863861168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08791751881273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70517928727338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9338065548991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13522538423966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9110156483801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79335413481996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790469514102255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625074786239765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14428017079657E-2</c:v>
                </c:pt>
                <c:pt idx="3">
                  <c:v>0.988785433070026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1214428017079657E-2</c:v>
                </c:pt>
                <c:pt idx="3">
                  <c:v>0.422804909114204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485887328088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01382036445365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43564329831957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01496793281269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679970747671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9277336697474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8545899273584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724017404071293E-2</c:v>
                </c:pt>
                <c:pt idx="3">
                  <c:v>0.9112748835864383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8.8724017404071293E-2</c:v>
                </c:pt>
                <c:pt idx="3">
                  <c:v>0.334485657867277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24274682192949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61785202755672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563360232506447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407080700262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3258189381677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9826896895111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1981214297187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68672821689238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7038963125081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6952369408094659E-2</c:v>
                </c:pt>
                <c:pt idx="3">
                  <c:v>0.973045920509188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599286851439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705356062228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733239612330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3568535811043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6531448041233236E-3</c:v>
                </c:pt>
                <c:pt idx="3">
                  <c:v>0.996346582983699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632816902911265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6525356374131268E-3</c:v>
                </c:pt>
                <c:pt idx="3">
                  <c:v>0.38114709253605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32299415643811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296662336822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02674756485920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891506821952563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297266057175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3.9901864727342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2949736674014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555908273285555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6952369408094659E-2</c:v>
                </c:pt>
                <c:pt idx="3">
                  <c:v>0.973045920509188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577078911186099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6952369408094659E-2</c:v>
                </c:pt>
                <c:pt idx="3">
                  <c:v>0.297162870710102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298708584619583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361049601215225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33514678828876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07195893438850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6952369408094659E-2</c:v>
                </c:pt>
                <c:pt idx="3">
                  <c:v>0.297162870710102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298708584619583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361049601215225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285658785968522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16373420501108E-3</c:v>
                </c:pt>
                <c:pt idx="3">
                  <c:v>0.996183342204426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750455563101571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8157370352040277E-3</c:v>
                </c:pt>
                <c:pt idx="3">
                  <c:v>0.395228593633762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516152761585157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48864439225384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834022214012578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038037809499322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1062270559764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192394525610480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71133301253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36922073076598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57669844679666E-2</c:v>
                </c:pt>
                <c:pt idx="3">
                  <c:v>0.9714214884095281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25709561114125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857669844679666E-2</c:v>
                </c:pt>
                <c:pt idx="3">
                  <c:v>0.3104357021090360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67831065616311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68414210611983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04790302566249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90480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44582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89875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0460913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43975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29360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52969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07482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662212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375553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226929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51763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97857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69501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112242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358330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11559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06539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9683751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1296139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684608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38068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9925389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205925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5478991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805731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498567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71949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682199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261572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837775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345182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18469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397913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946540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366250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344262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424246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395356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386976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968209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169640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948028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1999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550145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738319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828349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857035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836394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828044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83298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2989145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838651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252591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967169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644460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223559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046029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457950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41493455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245248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2336354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622881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9049948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59544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94720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271896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312849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252819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826257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945487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0680030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966194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281846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642024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686409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47611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377581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03529342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658991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850474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5446</Words>
  <Application>Microsoft Office PowerPoint</Application>
  <PresentationFormat>On-screen Show (16:9)</PresentationFormat>
  <Paragraphs>1613</Paragraphs>
  <Slides>8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0"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3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